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786" r:id="rId2"/>
  </p:sldIdLst>
  <p:sldSz cx="9906000" cy="6858000" type="A4"/>
  <p:notesSz cx="6858000" cy="9926638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19">
          <p15:clr>
            <a:srgbClr val="A4A3A4"/>
          </p15:clr>
        </p15:guide>
        <p15:guide id="2" orient="horz" pos="1434" userDrawn="1">
          <p15:clr>
            <a:srgbClr val="A4A3A4"/>
          </p15:clr>
        </p15:guide>
        <p15:guide id="3" orient="horz" pos="1997">
          <p15:clr>
            <a:srgbClr val="A4A3A4"/>
          </p15:clr>
        </p15:guide>
        <p15:guide id="4" orient="horz" pos="2784">
          <p15:clr>
            <a:srgbClr val="A4A3A4"/>
          </p15:clr>
        </p15:guide>
        <p15:guide id="5" orient="horz" pos="3288">
          <p15:clr>
            <a:srgbClr val="A4A3A4"/>
          </p15:clr>
        </p15:guide>
        <p15:guide id="6" pos="224">
          <p15:clr>
            <a:srgbClr val="A4A3A4"/>
          </p15:clr>
        </p15:guide>
        <p15:guide id="7" pos="1693">
          <p15:clr>
            <a:srgbClr val="A4A3A4"/>
          </p15:clr>
        </p15:guide>
        <p15:guide id="8" pos="3548">
          <p15:clr>
            <a:srgbClr val="A4A3A4"/>
          </p15:clr>
        </p15:guide>
        <p15:guide id="9" pos="6045">
          <p15:clr>
            <a:srgbClr val="A4A3A4"/>
          </p15:clr>
        </p15:guide>
        <p15:guide id="10" pos="46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66"/>
    <a:srgbClr val="336699"/>
    <a:srgbClr val="FFFF99"/>
    <a:srgbClr val="FFFFCC"/>
    <a:srgbClr val="1F15EF"/>
    <a:srgbClr val="D6F79B"/>
    <a:srgbClr val="FFCCCC"/>
    <a:srgbClr val="CAF57D"/>
    <a:srgbClr val="91F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Φωτεινό στυλ 2 - Έμφαση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Μεσαίο στυλ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Μεσαίο στυλ 1 - Έμφαση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8060" autoAdjust="0"/>
  </p:normalViewPr>
  <p:slideViewPr>
    <p:cSldViewPr snapToGrid="0">
      <p:cViewPr>
        <p:scale>
          <a:sx n="99" d="100"/>
          <a:sy n="99" d="100"/>
        </p:scale>
        <p:origin x="-1056" y="-396"/>
      </p:cViewPr>
      <p:guideLst>
        <p:guide orient="horz" pos="4319"/>
        <p:guide orient="horz" pos="1434"/>
        <p:guide orient="horz" pos="1997"/>
        <p:guide orient="horz" pos="2784"/>
        <p:guide orient="horz" pos="3288"/>
        <p:guide pos="224"/>
        <p:guide pos="1693"/>
        <p:guide pos="3548"/>
        <p:guide pos="6045"/>
        <p:guide pos="4601"/>
      </p:guideLst>
    </p:cSldViewPr>
  </p:slideViewPr>
  <p:outlineViewPr>
    <p:cViewPr>
      <p:scale>
        <a:sx n="33" d="100"/>
        <a:sy n="33" d="100"/>
      </p:scale>
      <p:origin x="0" y="171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674"/>
    </p:cViewPr>
  </p:sorterViewPr>
  <p:notesViewPr>
    <p:cSldViewPr snapToGrid="0">
      <p:cViewPr varScale="1">
        <p:scale>
          <a:sx n="55" d="100"/>
          <a:sy n="55" d="100"/>
        </p:scale>
        <p:origin x="-1771" y="-77"/>
      </p:cViewPr>
      <p:guideLst>
        <p:guide orient="horz" pos="3127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121" y="1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F8BB2E4-7B1D-454A-A556-DEDF87A33159}" type="datetimeFigureOut">
              <a:rPr lang="en-US"/>
              <a:pPr>
                <a:defRPr/>
              </a:pPr>
              <a:t>5/23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9040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121" y="9429040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610F742-DAFE-4258-AF0A-D8B36E79E6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795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121" y="1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A788A3F-64FF-48F8-A234-C09AB9420AB6}" type="datetimeFigureOut">
              <a:rPr lang="en-US"/>
              <a:pPr>
                <a:defRPr/>
              </a:pPr>
              <a:t>5/2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1363" y="744538"/>
            <a:ext cx="537686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14" tIns="46460" rIns="92914" bIns="4646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281" y="4714519"/>
            <a:ext cx="5485440" cy="4467304"/>
          </a:xfrm>
          <a:prstGeom prst="rect">
            <a:avLst/>
          </a:prstGeom>
        </p:spPr>
        <p:txBody>
          <a:bodyPr vert="horz" lIns="92914" tIns="46460" rIns="92914" bIns="4646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9040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121" y="9429040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EDA0057-B3E7-4C04-B067-0BE87B11E4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9155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8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5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oleObject" Target="../embeddings/oleObject5.bin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oleObject" Target="../embeddings/oleObject9.bin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tags" Target="../tags/tag2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4.xml"/><Relationship Id="rId9" Type="http://schemas.openxmlformats.org/officeDocument/2006/relationships/tags" Target="../tags/tag2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tags" Target="../tags/tag3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3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4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50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4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utoShape 441"/>
          <p:cNvSpPr>
            <a:spLocks noChangeArrowheads="1"/>
          </p:cNvSpPr>
          <p:nvPr userDrawn="1"/>
        </p:nvSpPr>
        <p:spPr bwMode="auto">
          <a:xfrm>
            <a:off x="327025" y="0"/>
            <a:ext cx="6896100" cy="158750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90000"/>
              </a:lnSpc>
              <a:spcBef>
                <a:spcPct val="50000"/>
              </a:spcBef>
              <a:defRPr/>
            </a:pPr>
            <a:endParaRPr lang="el-GR" sz="3200"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/>
        </p:nvSpPr>
        <p:spPr bwMode="auto">
          <a:xfrm>
            <a:off x="314325" y="1776413"/>
            <a:ext cx="6908800" cy="50323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AutoShape 441"/>
          <p:cNvSpPr>
            <a:spLocks noChangeArrowheads="1"/>
          </p:cNvSpPr>
          <p:nvPr userDrawn="1"/>
        </p:nvSpPr>
        <p:spPr bwMode="auto">
          <a:xfrm>
            <a:off x="0" y="1371600"/>
            <a:ext cx="9906000" cy="557213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grpSp>
        <p:nvGrpSpPr>
          <p:cNvPr id="9" name="Group 20"/>
          <p:cNvGrpSpPr>
            <a:grpSpLocks/>
          </p:cNvGrpSpPr>
          <p:nvPr userDrawn="1"/>
        </p:nvGrpSpPr>
        <p:grpSpPr bwMode="auto">
          <a:xfrm>
            <a:off x="331788" y="252413"/>
            <a:ext cx="7089775" cy="69850"/>
            <a:chOff x="193" y="158"/>
            <a:chExt cx="3044" cy="33"/>
          </a:xfrm>
        </p:grpSpPr>
        <p:sp>
          <p:nvSpPr>
            <p:cNvPr id="10" name="Line 4"/>
            <p:cNvSpPr>
              <a:spLocks noChangeShapeType="1"/>
            </p:cNvSpPr>
            <p:nvPr/>
          </p:nvSpPr>
          <p:spPr bwMode="auto">
            <a:xfrm>
              <a:off x="193" y="158"/>
              <a:ext cx="3044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>
              <a:off x="193" y="191"/>
              <a:ext cx="3044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</p:grpSp>
      <p:sp>
        <p:nvSpPr>
          <p:cNvPr id="39" name="Text Placeholder 38"/>
          <p:cNvSpPr>
            <a:spLocks noGrp="1"/>
          </p:cNvSpPr>
          <p:nvPr>
            <p:ph type="body" sz="quarter" idx="13"/>
          </p:nvPr>
        </p:nvSpPr>
        <p:spPr>
          <a:xfrm>
            <a:off x="3699316" y="3599501"/>
            <a:ext cx="5844540" cy="548640"/>
          </a:xfrm>
          <a:ln>
            <a:noFill/>
          </a:ln>
        </p:spPr>
        <p:txBody>
          <a:bodyPr/>
          <a:lstStyle>
            <a:lvl1pPr>
              <a:buNone/>
              <a:defRPr sz="2800" b="1" baseline="0">
                <a:solidFill>
                  <a:srgbClr val="003366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4"/>
          </p:nvPr>
        </p:nvSpPr>
        <p:spPr>
          <a:xfrm>
            <a:off x="314722" y="1417034"/>
            <a:ext cx="4743053" cy="466344"/>
          </a:xfrm>
        </p:spPr>
        <p:txBody>
          <a:bodyPr anchor="ctr"/>
          <a:lstStyle>
            <a:lvl1pPr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5"/>
          </p:nvPr>
        </p:nvSpPr>
        <p:spPr>
          <a:xfrm>
            <a:off x="314722" y="1925830"/>
            <a:ext cx="4743053" cy="350645"/>
          </a:xfrm>
        </p:spPr>
        <p:txBody>
          <a:bodyPr/>
          <a:lstStyle>
            <a:lvl1pPr>
              <a:buNone/>
              <a:defRPr sz="160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4390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0B045A02-E31C-4B31-95EC-0CEE67A921EF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0788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441"/>
          <p:cNvSpPr>
            <a:spLocks noChangeArrowheads="1"/>
          </p:cNvSpPr>
          <p:nvPr userDrawn="1"/>
        </p:nvSpPr>
        <p:spPr bwMode="auto">
          <a:xfrm>
            <a:off x="327025" y="0"/>
            <a:ext cx="4722813" cy="158750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" name="AutoShape 441"/>
          <p:cNvSpPr>
            <a:spLocks noChangeArrowheads="1"/>
          </p:cNvSpPr>
          <p:nvPr userDrawn="1"/>
        </p:nvSpPr>
        <p:spPr bwMode="auto">
          <a:xfrm>
            <a:off x="314325" y="1776413"/>
            <a:ext cx="4751388" cy="50323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" name="AutoShape 441"/>
          <p:cNvSpPr>
            <a:spLocks noChangeArrowheads="1"/>
          </p:cNvSpPr>
          <p:nvPr userDrawn="1"/>
        </p:nvSpPr>
        <p:spPr bwMode="auto">
          <a:xfrm>
            <a:off x="0" y="1371600"/>
            <a:ext cx="9906000" cy="557213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31788" y="1435100"/>
            <a:ext cx="5722937" cy="4238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el-GR" sz="2400" smtClean="0">
                <a:solidFill>
                  <a:srgbClr val="FFFFFF"/>
                </a:solidFill>
                <a:latin typeface="Calibri" pitchFamily="34" charset="0"/>
                <a:cs typeface="+mn-cs"/>
              </a:rPr>
              <a:t>Περιεχόμενα</a:t>
            </a:r>
            <a:endParaRPr lang="en-US" sz="2400" smtClean="0">
              <a:solidFill>
                <a:srgbClr val="FFFFFF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7" name="Text Box 2"/>
          <p:cNvSpPr txBox="1">
            <a:spLocks noChangeArrowheads="1"/>
          </p:cNvSpPr>
          <p:nvPr userDrawn="1"/>
        </p:nvSpPr>
        <p:spPr bwMode="auto">
          <a:xfrm>
            <a:off x="331788" y="1941513"/>
            <a:ext cx="3217862" cy="3143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endParaRPr lang="el-GR" sz="1600" smtClean="0">
              <a:solidFill>
                <a:srgbClr val="000000"/>
              </a:solidFill>
              <a:latin typeface="Calibri" pitchFamily="34" charset="0"/>
              <a:cs typeface="+mn-cs"/>
            </a:endParaRPr>
          </a:p>
        </p:txBody>
      </p:sp>
      <p:grpSp>
        <p:nvGrpSpPr>
          <p:cNvPr id="8" name="Group 20"/>
          <p:cNvGrpSpPr>
            <a:grpSpLocks/>
          </p:cNvGrpSpPr>
          <p:nvPr userDrawn="1"/>
        </p:nvGrpSpPr>
        <p:grpSpPr bwMode="auto">
          <a:xfrm>
            <a:off x="331788" y="252413"/>
            <a:ext cx="7089775" cy="69850"/>
            <a:chOff x="193" y="158"/>
            <a:chExt cx="3044" cy="33"/>
          </a:xfrm>
        </p:grpSpPr>
        <p:sp>
          <p:nvSpPr>
            <p:cNvPr id="9" name="Line 4"/>
            <p:cNvSpPr>
              <a:spLocks noChangeShapeType="1"/>
            </p:cNvSpPr>
            <p:nvPr/>
          </p:nvSpPr>
          <p:spPr bwMode="auto">
            <a:xfrm>
              <a:off x="193" y="158"/>
              <a:ext cx="3044" cy="0"/>
            </a:xfrm>
            <a:prstGeom prst="line">
              <a:avLst/>
            </a:prstGeom>
            <a:noFill/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193" y="191"/>
              <a:ext cx="3044" cy="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</p:grpSp>
    </p:spTree>
    <p:extLst>
      <p:ext uri="{BB962C8B-B14F-4D97-AF65-F5344CB8AC3E}">
        <p14:creationId xmlns:p14="http://schemas.microsoft.com/office/powerpoint/2010/main" val="15009706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9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3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9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12738" y="720725"/>
            <a:ext cx="9340850" cy="55245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8" name="AutoShape 441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Text Box 25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11" name="Freeform 10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2" name="Text Box 70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A840ECBC-60E2-4D7C-B33D-6B44A59A2538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dirty="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Content Placeholder 30"/>
          <p:cNvSpPr>
            <a:spLocks noGrp="1"/>
          </p:cNvSpPr>
          <p:nvPr>
            <p:ph sz="quarter" idx="11"/>
          </p:nvPr>
        </p:nvSpPr>
        <p:spPr>
          <a:xfrm>
            <a:off x="511773" y="895093"/>
            <a:ext cx="9118002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1800" b="1" i="1" baseline="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835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441"/>
          <p:cNvSpPr>
            <a:spLocks noChangeArrowheads="1"/>
          </p:cNvSpPr>
          <p:nvPr userDrawn="1"/>
        </p:nvSpPr>
        <p:spPr bwMode="auto">
          <a:xfrm>
            <a:off x="327025" y="0"/>
            <a:ext cx="4722813" cy="158750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" name="AutoShape 441"/>
          <p:cNvSpPr>
            <a:spLocks noChangeArrowheads="1"/>
          </p:cNvSpPr>
          <p:nvPr userDrawn="1"/>
        </p:nvSpPr>
        <p:spPr bwMode="auto">
          <a:xfrm>
            <a:off x="314325" y="1776413"/>
            <a:ext cx="4751388" cy="50323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" name="AutoShape 441"/>
          <p:cNvSpPr>
            <a:spLocks noChangeArrowheads="1"/>
          </p:cNvSpPr>
          <p:nvPr userDrawn="1"/>
        </p:nvSpPr>
        <p:spPr bwMode="auto">
          <a:xfrm>
            <a:off x="0" y="1371600"/>
            <a:ext cx="9906000" cy="557213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Freeform 12"/>
          <p:cNvSpPr>
            <a:spLocks/>
          </p:cNvSpPr>
          <p:nvPr userDrawn="1"/>
        </p:nvSpPr>
        <p:spPr bwMode="auto">
          <a:xfrm>
            <a:off x="392113" y="90488"/>
            <a:ext cx="9463087" cy="490537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961"/>
              <a:gd name="T22" fmla="*/ 0 h 310"/>
              <a:gd name="T23" fmla="*/ 5961 w 5961"/>
              <a:gd name="T24" fmla="*/ 310 h 31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7" name="Text Box 2"/>
          <p:cNvSpPr txBox="1">
            <a:spLocks noChangeArrowheads="1"/>
          </p:cNvSpPr>
          <p:nvPr userDrawn="1"/>
        </p:nvSpPr>
        <p:spPr bwMode="auto">
          <a:xfrm>
            <a:off x="331788" y="1941513"/>
            <a:ext cx="3217862" cy="3143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endParaRPr lang="el-GR" sz="1600" smtClean="0">
              <a:solidFill>
                <a:srgbClr val="000000"/>
              </a:solidFill>
              <a:latin typeface="Calibri" pitchFamily="34" charset="0"/>
              <a:cs typeface="+mn-cs"/>
            </a:endParaRPr>
          </a:p>
        </p:txBody>
      </p:sp>
      <p:grpSp>
        <p:nvGrpSpPr>
          <p:cNvPr id="8" name="Group 20"/>
          <p:cNvGrpSpPr>
            <a:grpSpLocks/>
          </p:cNvGrpSpPr>
          <p:nvPr userDrawn="1"/>
        </p:nvGrpSpPr>
        <p:grpSpPr bwMode="auto">
          <a:xfrm>
            <a:off x="331788" y="252413"/>
            <a:ext cx="7089775" cy="69850"/>
            <a:chOff x="193" y="158"/>
            <a:chExt cx="3044" cy="33"/>
          </a:xfrm>
        </p:grpSpPr>
        <p:sp>
          <p:nvSpPr>
            <p:cNvPr id="9" name="Line 4"/>
            <p:cNvSpPr>
              <a:spLocks noChangeShapeType="1"/>
            </p:cNvSpPr>
            <p:nvPr/>
          </p:nvSpPr>
          <p:spPr bwMode="auto">
            <a:xfrm>
              <a:off x="193" y="158"/>
              <a:ext cx="3044" cy="0"/>
            </a:xfrm>
            <a:prstGeom prst="line">
              <a:avLst/>
            </a:prstGeom>
            <a:noFill/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193" y="191"/>
              <a:ext cx="3044" cy="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</p:grpSp>
      <p:sp>
        <p:nvSpPr>
          <p:cNvPr id="11" name="Text Box 70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1E5D2343-2406-482F-9E4A-31DF5D1E6F54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070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441"/>
          <p:cNvSpPr>
            <a:spLocks noChangeArrowheads="1"/>
          </p:cNvSpPr>
          <p:nvPr userDrawn="1"/>
        </p:nvSpPr>
        <p:spPr bwMode="auto">
          <a:xfrm>
            <a:off x="327025" y="0"/>
            <a:ext cx="4722813" cy="158750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" name="AutoShape 441"/>
          <p:cNvSpPr>
            <a:spLocks noChangeArrowheads="1"/>
          </p:cNvSpPr>
          <p:nvPr userDrawn="1"/>
        </p:nvSpPr>
        <p:spPr bwMode="auto">
          <a:xfrm>
            <a:off x="314325" y="1776413"/>
            <a:ext cx="4751388" cy="50323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" name="AutoShape 441"/>
          <p:cNvSpPr>
            <a:spLocks noChangeArrowheads="1"/>
          </p:cNvSpPr>
          <p:nvPr userDrawn="1"/>
        </p:nvSpPr>
        <p:spPr bwMode="auto">
          <a:xfrm>
            <a:off x="0" y="1371600"/>
            <a:ext cx="9906000" cy="557213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Freeform 12"/>
          <p:cNvSpPr>
            <a:spLocks/>
          </p:cNvSpPr>
          <p:nvPr userDrawn="1"/>
        </p:nvSpPr>
        <p:spPr bwMode="auto">
          <a:xfrm>
            <a:off x="392113" y="90488"/>
            <a:ext cx="9463087" cy="490537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961"/>
              <a:gd name="T22" fmla="*/ 0 h 310"/>
              <a:gd name="T23" fmla="*/ 5961 w 5961"/>
              <a:gd name="T24" fmla="*/ 310 h 31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7" name="Text Box 2"/>
          <p:cNvSpPr txBox="1">
            <a:spLocks noChangeArrowheads="1"/>
          </p:cNvSpPr>
          <p:nvPr userDrawn="1"/>
        </p:nvSpPr>
        <p:spPr bwMode="auto">
          <a:xfrm>
            <a:off x="331788" y="1941513"/>
            <a:ext cx="3217862" cy="3143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endParaRPr lang="el-GR" sz="1600" smtClean="0">
              <a:solidFill>
                <a:srgbClr val="000000"/>
              </a:solidFill>
              <a:latin typeface="Calibri" pitchFamily="34" charset="0"/>
              <a:cs typeface="+mn-cs"/>
            </a:endParaRPr>
          </a:p>
        </p:txBody>
      </p:sp>
      <p:grpSp>
        <p:nvGrpSpPr>
          <p:cNvPr id="8" name="Group 20"/>
          <p:cNvGrpSpPr>
            <a:grpSpLocks/>
          </p:cNvGrpSpPr>
          <p:nvPr userDrawn="1"/>
        </p:nvGrpSpPr>
        <p:grpSpPr bwMode="auto">
          <a:xfrm>
            <a:off x="331788" y="252413"/>
            <a:ext cx="7089775" cy="69850"/>
            <a:chOff x="193" y="158"/>
            <a:chExt cx="3044" cy="33"/>
          </a:xfrm>
        </p:grpSpPr>
        <p:sp>
          <p:nvSpPr>
            <p:cNvPr id="9" name="Line 4"/>
            <p:cNvSpPr>
              <a:spLocks noChangeShapeType="1"/>
            </p:cNvSpPr>
            <p:nvPr/>
          </p:nvSpPr>
          <p:spPr bwMode="auto">
            <a:xfrm>
              <a:off x="193" y="158"/>
              <a:ext cx="3044" cy="0"/>
            </a:xfrm>
            <a:prstGeom prst="line">
              <a:avLst/>
            </a:prstGeom>
            <a:noFill/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193" y="191"/>
              <a:ext cx="3044" cy="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</p:grpSp>
      <p:sp>
        <p:nvSpPr>
          <p:cNvPr id="11" name="Text Box 70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4D783C19-6B61-4335-B52B-E50E7B52005D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8044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6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6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08057398-5566-47E8-97AA-5037D002A813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6915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9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9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FA8D1353-7550-486B-82A2-500A448A4D0E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91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1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1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55C5580E-F77D-45EE-8B76-BC152EBA2EDA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517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4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4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8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EF3ADD68-012C-4D98-AEC5-7417525C1C37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5655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6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Object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16"/>
            </p:custDataLst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9DAEA88-A8DF-4164-854A-56FD25CF2B19}" type="datetimeFigureOut">
              <a:rPr lang="en-US"/>
              <a:pPr>
                <a:defRPr/>
              </a:pPr>
              <a:t>5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878E956-7676-4109-8BE4-EBF16942228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  <p:sldLayoutId id="2147484906" r:id="rId9"/>
    <p:sldLayoutId id="2147484907" r:id="rId10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l-GR" dirty="0" smtClean="0"/>
              <a:t>Έσοδα ΤΑΙΠΕΔ από συμβόλαια </a:t>
            </a:r>
            <a:r>
              <a:rPr lang="el-GR" dirty="0"/>
              <a:t>2015-2016</a:t>
            </a:r>
          </a:p>
        </p:txBody>
      </p:sp>
      <p:graphicFrame>
        <p:nvGraphicFramePr>
          <p:cNvPr id="23" name="Content Placeholder 22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709652246"/>
              </p:ext>
            </p:extLst>
          </p:nvPr>
        </p:nvGraphicFramePr>
        <p:xfrm>
          <a:off x="279133" y="885522"/>
          <a:ext cx="9152492" cy="5697173"/>
        </p:xfrm>
        <a:graphic>
          <a:graphicData uri="http://schemas.openxmlformats.org/drawingml/2006/table">
            <a:tbl>
              <a:tblPr firstRow="1" lastRow="1" bandRow="1">
                <a:tableStyleId>{6E25E649-3F16-4E02-A733-19D2CDBF48F0}</a:tableStyleId>
              </a:tblPr>
              <a:tblGrid>
                <a:gridCol w="389076"/>
                <a:gridCol w="1452486"/>
                <a:gridCol w="1218488"/>
                <a:gridCol w="1013756"/>
                <a:gridCol w="859834"/>
                <a:gridCol w="930243"/>
                <a:gridCol w="1074366"/>
                <a:gridCol w="2214243"/>
              </a:tblGrid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Α/Α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Ακίνητο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Τίμημα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2015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2016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2017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2018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&gt; 2018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σακάλωφ</a:t>
                      </a:r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l-G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από 2014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250.000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€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0.000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€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Αναγνωστοπούλου (από</a:t>
                      </a:r>
                      <a:r>
                        <a:rPr lang="el-GR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4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137.000,58 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9.619 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Νέα Ηράκλεια (από 2014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243.000 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5.000 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.000 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.000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.000 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.000 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err="1" smtClean="0">
                          <a:effectLst/>
                        </a:rPr>
                        <a:t>Καλαμίτσα</a:t>
                      </a:r>
                      <a:r>
                        <a:rPr lang="el-GR" sz="1000" b="1" u="none" strike="noStrike" dirty="0" smtClean="0">
                          <a:effectLst/>
                        </a:rPr>
                        <a:t> Καβάλας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err="1" smtClean="0">
                          <a:effectLst/>
                        </a:rPr>
                        <a:t>Σμολένσκυ</a:t>
                      </a:r>
                      <a:r>
                        <a:rPr lang="el-GR" sz="1000" b="1" u="none" strike="noStrike" dirty="0" smtClean="0">
                          <a:effectLst/>
                        </a:rPr>
                        <a:t> 4, Ν. Φάληρο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4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4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Ξενία Σκιάθου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628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628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9871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Άγιος Ιωάννης Σιθωνίας, Χαλκιδική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61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61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Θεοφίλου 13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8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8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8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8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 dirty="0" smtClean="0">
                          <a:effectLst/>
                        </a:rPr>
                        <a:t>108</a:t>
                      </a:r>
                      <a:r>
                        <a:rPr lang="el-GR" sz="1000" u="none" strike="noStrike" kern="1200" dirty="0" smtClean="0">
                          <a:effectLst/>
                        </a:rPr>
                        <a:t>.</a:t>
                      </a:r>
                      <a:r>
                        <a:rPr lang="en-US" sz="1000" u="none" strike="noStrike" kern="1200" dirty="0" smtClean="0">
                          <a:effectLst/>
                        </a:rPr>
                        <a:t>000</a:t>
                      </a:r>
                      <a:r>
                        <a:rPr lang="el-GR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en-US" sz="1000" u="none" strike="noStrike" dirty="0" smtClean="0">
                          <a:effectLst/>
                        </a:rPr>
                        <a:t>€</a:t>
                      </a:r>
                      <a:r>
                        <a:rPr lang="el-GR" sz="1000" u="none" strike="noStrike" dirty="0" smtClean="0">
                          <a:effectLst/>
                        </a:rPr>
                        <a:t> το 2019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Μητροπόλεως 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785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.785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err="1" smtClean="0">
                          <a:effectLst/>
                        </a:rPr>
                        <a:t>Τούζλα</a:t>
                      </a:r>
                      <a:r>
                        <a:rPr lang="el-GR" sz="1000" b="1" u="none" strike="noStrike" dirty="0" smtClean="0">
                          <a:effectLst/>
                        </a:rPr>
                        <a:t> Παγγαίου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5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€</a:t>
                      </a:r>
                      <a:r>
                        <a:rPr lang="el-GR" sz="1000" u="none" strike="noStrike" dirty="0" smtClean="0">
                          <a:effectLst/>
                        </a:rPr>
                        <a:t> το 201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Βελιγράδι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400.5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.400.5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Σανατόριο Μάνα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8.3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8.3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4.9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4.9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763.600 € μέχρι</a:t>
                      </a:r>
                      <a:r>
                        <a:rPr lang="el-GR" sz="1000" u="none" strike="noStrike" baseline="0" dirty="0" smtClean="0">
                          <a:effectLst/>
                        </a:rPr>
                        <a:t> το 2065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ΧΕΥ </a:t>
                      </a:r>
                      <a:r>
                        <a:rPr lang="el-GR" sz="1000" b="1" u="none" strike="noStrike" dirty="0" err="1" smtClean="0">
                          <a:effectLst/>
                        </a:rPr>
                        <a:t>Νερατζιώτισσα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80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517.5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7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7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7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472.500 € μέχρι το 2020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Ευαγγελιστρίας 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72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</a:t>
                      </a:r>
                      <a:r>
                        <a:rPr lang="el-GR" sz="1000" u="none" strike="noStrike" dirty="0" smtClean="0">
                          <a:effectLst/>
                        </a:rPr>
                        <a:t>.</a:t>
                      </a:r>
                      <a:r>
                        <a:rPr lang="en-US" sz="1000" u="none" strike="noStrike" dirty="0" smtClean="0">
                          <a:effectLst/>
                        </a:rPr>
                        <a:t>000</a:t>
                      </a:r>
                      <a:r>
                        <a:rPr lang="el-GR" sz="1000" u="none" strike="noStrike" dirty="0" smtClean="0">
                          <a:effectLst/>
                        </a:rPr>
                        <a:t> € το 2019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Καλά Νερά Μαγνησία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3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.03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Ειρηνοδικείο Παραμυθιά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1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Νέα Υόρκη*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122.585,18 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8.122.585,18 €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err="1" smtClean="0">
                          <a:effectLst/>
                        </a:rPr>
                        <a:t>Ουάσινγκτον</a:t>
                      </a:r>
                      <a:r>
                        <a:rPr lang="el-GR" sz="1000" b="1" u="none" strike="noStrike" dirty="0" smtClean="0">
                          <a:effectLst/>
                        </a:rPr>
                        <a:t>*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502.634,35 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2.502.634,35 €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Ειρηνοδικείο Μεσσήνη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46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46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46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000 </a:t>
                      </a:r>
                      <a:r>
                        <a:rPr lang="en-US" sz="1000" u="none" strike="noStrike" dirty="0" smtClean="0">
                          <a:effectLst/>
                        </a:rPr>
                        <a:t>€</a:t>
                      </a:r>
                      <a:r>
                        <a:rPr lang="el-GR" sz="1000" u="none" strike="noStrike" dirty="0" smtClean="0">
                          <a:effectLst/>
                        </a:rPr>
                        <a:t> μέχρι το 2020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Σύνολο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42.322.720,11 </a:t>
                      </a:r>
                      <a:r>
                        <a:rPr lang="en-US" sz="1000" u="none" strike="noStrike" dirty="0" smtClean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</a:t>
                      </a:r>
                      <a:r>
                        <a:rPr lang="el-GR" sz="1000" u="none" strike="noStrike" dirty="0" smtClean="0">
                          <a:effectLst/>
                        </a:rPr>
                        <a:t>2.869.919</a:t>
                      </a:r>
                      <a:r>
                        <a:rPr lang="en-US" sz="1000" u="none" strike="noStrike" dirty="0" smtClean="0">
                          <a:effectLst/>
                        </a:rPr>
                        <a:t>,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</a:t>
                      </a:r>
                      <a:r>
                        <a:rPr lang="el-GR" sz="1000" u="none" strike="noStrike" dirty="0" smtClean="0">
                          <a:effectLst/>
                        </a:rPr>
                        <a:t>2</a:t>
                      </a:r>
                      <a:r>
                        <a:rPr lang="en-US" sz="1000" u="none" strike="noStrike" dirty="0" smtClean="0">
                          <a:effectLst/>
                        </a:rPr>
                        <a:t>.</a:t>
                      </a:r>
                      <a:r>
                        <a:rPr lang="el-GR" sz="1000" u="none" strike="noStrike" dirty="0" smtClean="0">
                          <a:effectLst/>
                        </a:rPr>
                        <a:t>158</a:t>
                      </a:r>
                      <a:r>
                        <a:rPr lang="en-US" sz="1000" u="none" strike="noStrike" dirty="0" smtClean="0">
                          <a:effectLst/>
                        </a:rPr>
                        <a:t>.519,53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.</a:t>
                      </a:r>
                      <a:r>
                        <a:rPr lang="el-GR" sz="1000" u="none" strike="noStrike" dirty="0" smtClean="0">
                          <a:effectLst/>
                        </a:rPr>
                        <a:t>421</a:t>
                      </a:r>
                      <a:r>
                        <a:rPr lang="en-US" sz="1000" u="none" strike="noStrike" dirty="0" smtClean="0">
                          <a:effectLst/>
                        </a:rPr>
                        <a:t>.900,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.</a:t>
                      </a:r>
                      <a:r>
                        <a:rPr lang="el-GR" sz="1000" u="none" strike="noStrike" dirty="0" smtClean="0">
                          <a:effectLst/>
                        </a:rPr>
                        <a:t>402</a:t>
                      </a:r>
                      <a:r>
                        <a:rPr lang="en-US" sz="1000" u="none" strike="noStrike" dirty="0" smtClean="0">
                          <a:effectLst/>
                        </a:rPr>
                        <a:t>.900,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23.100,00</a:t>
                      </a:r>
                      <a:r>
                        <a:rPr lang="en-US" sz="1000" u="none" strike="noStrike" dirty="0" smtClean="0">
                          <a:effectLst/>
                        </a:rPr>
                        <a:t> €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88259" y="6642847"/>
            <a:ext cx="5177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dirty="0" smtClean="0">
                <a:latin typeface="+mn-lt"/>
              </a:rPr>
              <a:t>* </a:t>
            </a:r>
            <a:r>
              <a:rPr lang="it-IT" sz="900" dirty="0" smtClean="0">
                <a:latin typeface="+mn-lt"/>
              </a:rPr>
              <a:t>1 </a:t>
            </a:r>
            <a:r>
              <a:rPr lang="it-IT" sz="900" dirty="0">
                <a:latin typeface="+mn-lt"/>
              </a:rPr>
              <a:t>EURO = 1,1388 USD (5/4/2016)</a:t>
            </a:r>
            <a:endParaRPr lang="el-GR" sz="9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621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6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7JNwlAyUakbF7u3gLv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eQcSMzki6OV7IVfM7k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Qo_810OkyTO3mIK73S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W41wqLU.wi4SHjAaJr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OHfzs_XUeuml9tdkI6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56</TotalTime>
  <Words>315</Words>
  <Application>Microsoft Office PowerPoint</Application>
  <PresentationFormat>Α4 (210x297 χιλ.)</PresentationFormat>
  <Paragraphs>168</Paragraphs>
  <Slides>1</Slides>
  <Notes>0</Notes>
  <HiddenSlides>0</HiddenSlides>
  <MMClips>0</MMClips>
  <ScaleCrop>false</ScaleCrop>
  <HeadingPairs>
    <vt:vector size="6" baseType="variant"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Παρουσίαση του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makripidis</dc:creator>
  <cp:lastModifiedBy>Roi Haikou</cp:lastModifiedBy>
  <cp:revision>3185</cp:revision>
  <cp:lastPrinted>2014-03-12T08:13:07Z</cp:lastPrinted>
  <dcterms:created xsi:type="dcterms:W3CDTF">2009-10-01T09:26:44Z</dcterms:created>
  <dcterms:modified xsi:type="dcterms:W3CDTF">2016-05-23T12:45:52Z</dcterms:modified>
</cp:coreProperties>
</file>